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6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006FA14-C38A-43BC-BA06-B9B437AB0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-Step Vertical Chevr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F77169-35D0-1B46-9AAB-2A9552261328}"/>
              </a:ext>
            </a:extLst>
          </p:cNvPr>
          <p:cNvSpPr/>
          <p:nvPr/>
        </p:nvSpPr>
        <p:spPr>
          <a:xfrm>
            <a:off x="3755571" y="1889124"/>
            <a:ext cx="13817817" cy="20950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FA4D5B5-BB2A-8547-0B45-BA2BEB8F494C}"/>
              </a:ext>
            </a:extLst>
          </p:cNvPr>
          <p:cNvSpPr/>
          <p:nvPr/>
        </p:nvSpPr>
        <p:spPr>
          <a:xfrm>
            <a:off x="3755571" y="4148102"/>
            <a:ext cx="13817817" cy="20950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2941741-CFEE-8F0A-3C47-386EE09C54B0}"/>
              </a:ext>
            </a:extLst>
          </p:cNvPr>
          <p:cNvSpPr/>
          <p:nvPr/>
        </p:nvSpPr>
        <p:spPr>
          <a:xfrm>
            <a:off x="3755571" y="6407080"/>
            <a:ext cx="13817817" cy="20950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58B22A1-CAB1-617F-D3F8-153BD13E793F}"/>
              </a:ext>
            </a:extLst>
          </p:cNvPr>
          <p:cNvGrpSpPr/>
          <p:nvPr/>
        </p:nvGrpSpPr>
        <p:grpSpPr>
          <a:xfrm>
            <a:off x="714612" y="1889125"/>
            <a:ext cx="2866787" cy="2807618"/>
            <a:chOff x="714612" y="1889125"/>
            <a:chExt cx="2866787" cy="2807618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4BE9A3D1-24D7-19A9-CFC7-03DC6940B975}"/>
                </a:ext>
              </a:extLst>
            </p:cNvPr>
            <p:cNvSpPr/>
            <p:nvPr/>
          </p:nvSpPr>
          <p:spPr>
            <a:xfrm rot="5400000">
              <a:off x="744197" y="1859540"/>
              <a:ext cx="2807618" cy="2866787"/>
            </a:xfrm>
            <a:prstGeom prst="homePlate">
              <a:avLst>
                <a:gd name="adj" fmla="val 2473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8FB89A6-6BBA-A0B8-D39C-391B8EFF6DA9}"/>
                </a:ext>
              </a:extLst>
            </p:cNvPr>
            <p:cNvSpPr txBox="1"/>
            <p:nvPr/>
          </p:nvSpPr>
          <p:spPr>
            <a:xfrm>
              <a:off x="1233606" y="3108267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8623253-0ECC-8845-70E7-9E409478CA6A}"/>
              </a:ext>
            </a:extLst>
          </p:cNvPr>
          <p:cNvGrpSpPr/>
          <p:nvPr/>
        </p:nvGrpSpPr>
        <p:grpSpPr>
          <a:xfrm>
            <a:off x="714373" y="4148103"/>
            <a:ext cx="2867025" cy="2807618"/>
            <a:chOff x="714373" y="4148103"/>
            <a:chExt cx="2867025" cy="2807618"/>
          </a:xfrm>
        </p:grpSpPr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4FCB5D68-9700-7505-9611-BD0DC51BD04F}"/>
                </a:ext>
              </a:extLst>
            </p:cNvPr>
            <p:cNvSpPr/>
            <p:nvPr/>
          </p:nvSpPr>
          <p:spPr>
            <a:xfrm rot="5400000">
              <a:off x="744077" y="4118399"/>
              <a:ext cx="2807618" cy="2867025"/>
            </a:xfrm>
            <a:prstGeom prst="chevron">
              <a:avLst>
                <a:gd name="adj" fmla="val 247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12FAC7C-53CB-7D07-C5BC-126D24BB65DE}"/>
                </a:ext>
              </a:extLst>
            </p:cNvPr>
            <p:cNvSpPr txBox="1"/>
            <p:nvPr/>
          </p:nvSpPr>
          <p:spPr>
            <a:xfrm>
              <a:off x="1233486" y="5367245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4359E20-377A-E14C-172B-9AB0FEDC8DD5}"/>
              </a:ext>
            </a:extLst>
          </p:cNvPr>
          <p:cNvGrpSpPr/>
          <p:nvPr/>
        </p:nvGrpSpPr>
        <p:grpSpPr>
          <a:xfrm>
            <a:off x="714373" y="6407081"/>
            <a:ext cx="2867025" cy="2807618"/>
            <a:chOff x="714373" y="6407081"/>
            <a:chExt cx="2867025" cy="2807618"/>
          </a:xfrm>
        </p:grpSpPr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4190B270-B2C1-3D97-212F-19AB818FE967}"/>
                </a:ext>
              </a:extLst>
            </p:cNvPr>
            <p:cNvSpPr/>
            <p:nvPr/>
          </p:nvSpPr>
          <p:spPr>
            <a:xfrm rot="5400000">
              <a:off x="744077" y="6377377"/>
              <a:ext cx="2807618" cy="2867025"/>
            </a:xfrm>
            <a:prstGeom prst="chevron">
              <a:avLst>
                <a:gd name="adj" fmla="val 2473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DED11F5-C13E-9644-96A3-8D96238D6B95}"/>
                </a:ext>
              </a:extLst>
            </p:cNvPr>
            <p:cNvSpPr txBox="1"/>
            <p:nvPr/>
          </p:nvSpPr>
          <p:spPr>
            <a:xfrm>
              <a:off x="1233486" y="7626223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AEF2EE-475E-C671-E3E2-48D413528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912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8</TotalTime>
  <Words>334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3-Step Vertical Chevr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27</cp:revision>
  <dcterms:created xsi:type="dcterms:W3CDTF">2006-08-16T00:00:00Z</dcterms:created>
  <dcterms:modified xsi:type="dcterms:W3CDTF">2025-10-06T09:21:55Z</dcterms:modified>
  <cp:category/>
  <dc:identifier>DAGkDf5R9EM</dc:identifier>
</cp:coreProperties>
</file>